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</p:sldMasterIdLst>
  <p:notesMasterIdLst>
    <p:notesMasterId r:id="rId13"/>
  </p:notesMasterIdLst>
  <p:sldIdLst>
    <p:sldId id="2561" r:id="rId6"/>
    <p:sldId id="2562" r:id="rId7"/>
    <p:sldId id="2566" r:id="rId8"/>
    <p:sldId id="2567" r:id="rId9"/>
    <p:sldId id="2563" r:id="rId10"/>
    <p:sldId id="2564" r:id="rId11"/>
    <p:sldId id="2565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ackathon Pitch: Innovating with AI Solutions" id="{F933514E-DA43-4C13-ACA5-34D2A32394EC}">
          <p14:sldIdLst>
            <p14:sldId id="2561"/>
            <p14:sldId id="2562"/>
            <p14:sldId id="2566"/>
            <p14:sldId id="2567"/>
            <p14:sldId id="2563"/>
            <p14:sldId id="2564"/>
            <p14:sldId id="25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B2FB26-65FC-49EA-96A6-70974E11C876}" v="3" dt="2025-07-22T05:44:34.4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60"/>
  </p:normalViewPr>
  <p:slideViewPr>
    <p:cSldViewPr snapToGrid="0">
      <p:cViewPr varScale="1">
        <p:scale>
          <a:sx n="90" d="100"/>
          <a:sy n="90" d="100"/>
        </p:scale>
        <p:origin x="39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shra, Saurabh" userId="b6aedc72-a353-43e8-826a-4226e56d666b" providerId="ADAL" clId="{37B2FB26-65FC-49EA-96A6-70974E11C876}"/>
    <pc:docChg chg="undo custSel modSld">
      <pc:chgData name="Mishra, Saurabh" userId="b6aedc72-a353-43e8-826a-4226e56d666b" providerId="ADAL" clId="{37B2FB26-65FC-49EA-96A6-70974E11C876}" dt="2025-07-22T05:44:34.459" v="24" actId="27636"/>
      <pc:docMkLst>
        <pc:docMk/>
      </pc:docMkLst>
      <pc:sldChg chg="modSp mod">
        <pc:chgData name="Mishra, Saurabh" userId="b6aedc72-a353-43e8-826a-4226e56d666b" providerId="ADAL" clId="{37B2FB26-65FC-49EA-96A6-70974E11C876}" dt="2025-07-22T05:44:34.459" v="24" actId="27636"/>
        <pc:sldMkLst>
          <pc:docMk/>
          <pc:sldMk cId="2354604928" sldId="2563"/>
        </pc:sldMkLst>
        <pc:spChg chg="mod">
          <ac:chgData name="Mishra, Saurabh" userId="b6aedc72-a353-43e8-826a-4226e56d666b" providerId="ADAL" clId="{37B2FB26-65FC-49EA-96A6-70974E11C876}" dt="2025-07-22T05:44:15.903" v="19" actId="14100"/>
          <ac:spMkLst>
            <pc:docMk/>
            <pc:sldMk cId="2354604928" sldId="2563"/>
            <ac:spMk id="2" creationId="{B64073BB-4DF6-2F92-FEF2-87ED1D8F93D0}"/>
          </ac:spMkLst>
        </pc:spChg>
        <pc:spChg chg="mod">
          <ac:chgData name="Mishra, Saurabh" userId="b6aedc72-a353-43e8-826a-4226e56d666b" providerId="ADAL" clId="{37B2FB26-65FC-49EA-96A6-70974E11C876}" dt="2025-07-22T05:44:34.459" v="24" actId="27636"/>
          <ac:spMkLst>
            <pc:docMk/>
            <pc:sldMk cId="2354604928" sldId="2563"/>
            <ac:spMk id="4" creationId="{BC8DC220-3CCA-548D-C68F-6B3C93D3C60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B8F42D-E314-4E6D-A117-F10178B4E9D5}" type="datetimeFigureOut">
              <a:rPr lang="en-US" smtClean="0"/>
              <a:t>7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D8743-7B9D-48D0-9BBB-4A687F1D03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461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4BECB-1821-4B9E-9D6B-38D1DF4BAE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8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4BECB-1821-4B9E-9D6B-38D1DF4BAE4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904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4BECB-1821-4B9E-9D6B-38D1DF4BAE4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988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4BECB-1821-4B9E-9D6B-38D1DF4BAE4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866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1" y="5955351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1" y="5703065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1" y="5450780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0"/>
            <a:ext cx="8046720" cy="16093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8046720" cy="228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036" y="377496"/>
            <a:ext cx="1122323" cy="61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70559" y="6571488"/>
            <a:ext cx="48768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9472" y="2452377"/>
            <a:ext cx="4876373" cy="3808724"/>
          </a:xfrm>
        </p:spPr>
        <p:txBody>
          <a:bodyPr/>
          <a:lstStyle>
            <a:lvl1pPr>
              <a:spcAft>
                <a:spcPts val="8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8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8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8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8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5" y="1299361"/>
            <a:ext cx="4876375" cy="95884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9472" y="817929"/>
            <a:ext cx="2987040" cy="287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1">
                <a:solidFill>
                  <a:srgbClr val="BDF0FF"/>
                </a:solidFill>
              </a:defRPr>
            </a:lvl1pPr>
            <a:lvl2pPr marL="243829" indent="0">
              <a:buNone/>
              <a:defRPr sz="1867" b="1">
                <a:solidFill>
                  <a:schemeClr val="bg2"/>
                </a:solidFill>
              </a:defRPr>
            </a:lvl2pPr>
            <a:lvl3pPr marL="429069" indent="0">
              <a:buNone/>
              <a:defRPr sz="1867" b="1">
                <a:solidFill>
                  <a:schemeClr val="bg2"/>
                </a:solidFill>
              </a:defRPr>
            </a:lvl3pPr>
            <a:lvl4pPr marL="609570" indent="0">
              <a:buNone/>
              <a:defRPr sz="1867" b="1">
                <a:solidFill>
                  <a:schemeClr val="bg2"/>
                </a:solidFill>
              </a:defRPr>
            </a:lvl4pPr>
            <a:lvl5pPr marL="791592" indent="0">
              <a:buNone/>
              <a:defRPr sz="1867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9472" y="498539"/>
            <a:ext cx="2987040" cy="2872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1">
                <a:solidFill>
                  <a:srgbClr val="BDF0FF"/>
                </a:solidFill>
              </a:defRPr>
            </a:lvl1pPr>
            <a:lvl2pPr marL="243829" indent="0">
              <a:buNone/>
              <a:defRPr sz="1867" b="1">
                <a:solidFill>
                  <a:schemeClr val="bg2"/>
                </a:solidFill>
              </a:defRPr>
            </a:lvl2pPr>
            <a:lvl3pPr marL="429069" indent="0">
              <a:buNone/>
              <a:defRPr sz="1867" b="1">
                <a:solidFill>
                  <a:schemeClr val="bg2"/>
                </a:solidFill>
              </a:defRPr>
            </a:lvl3pPr>
            <a:lvl4pPr marL="609570" indent="0">
              <a:buNone/>
              <a:defRPr sz="1867" b="1">
                <a:solidFill>
                  <a:schemeClr val="bg2"/>
                </a:solidFill>
              </a:defRPr>
            </a:lvl4pPr>
            <a:lvl5pPr marL="791592" indent="0">
              <a:buNone/>
              <a:defRPr sz="1867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918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766560" y="6571488"/>
            <a:ext cx="1219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6560" y="2950469"/>
            <a:ext cx="4239328" cy="958849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4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80FA70-CF5B-E07E-97B1-AB9AB5867B1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2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766560" y="6571488"/>
            <a:ext cx="1219200" cy="1219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6560" y="2950469"/>
            <a:ext cx="4239328" cy="958849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4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94015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766560" y="6571488"/>
            <a:ext cx="1219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6560" y="2950469"/>
            <a:ext cx="4239328" cy="958849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4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21229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766560" y="6571488"/>
            <a:ext cx="1219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4575" y="2949578"/>
            <a:ext cx="4239328" cy="958849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4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363669-D610-ED8D-3895-9432775ABE3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58" y="2197895"/>
            <a:ext cx="10850881" cy="24622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501652"/>
            <a:ext cx="542544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3F26A8-B057-3293-03EC-A4DC51EAE954}"/>
              </a:ext>
            </a:extLst>
          </p:cNvPr>
          <p:cNvPicPr/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59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59" y="2197895"/>
            <a:ext cx="10850880" cy="24622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48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501652"/>
            <a:ext cx="542544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85150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59" y="2197895"/>
            <a:ext cx="10850880" cy="24622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48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501652"/>
            <a:ext cx="542544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49220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6C1B29-B7F5-F1AC-E2BE-C9A346F1ADF2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59" y="2197895"/>
            <a:ext cx="10850880" cy="24622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501652"/>
            <a:ext cx="542544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428694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5AE331-E0FC-A171-D4C4-5C70D3E19F6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99873"/>
            <a:ext cx="10850880" cy="958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14713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1" y="5954759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1" y="5702473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1" y="5450188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0"/>
            <a:ext cx="8046720" cy="16093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804672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036" y="377496"/>
            <a:ext cx="1122323" cy="61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604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" y="501655"/>
            <a:ext cx="10850880" cy="9588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964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501655"/>
            <a:ext cx="10850880" cy="9588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375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501655"/>
            <a:ext cx="10850880" cy="9588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C008BF-7C25-F200-C598-3743F4AE086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888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749" y="1615017"/>
            <a:ext cx="10850880" cy="46464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71" y="501655"/>
            <a:ext cx="10850880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344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7111" y="1615017"/>
            <a:ext cx="5098141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751" y="1615017"/>
            <a:ext cx="5098141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71" y="501655"/>
            <a:ext cx="10850880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615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0148" y="1615017"/>
            <a:ext cx="3172803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03317" y="1615017"/>
            <a:ext cx="3172803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751" y="1615017"/>
            <a:ext cx="3172803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71" y="501655"/>
            <a:ext cx="10850880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74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37573" y="0"/>
            <a:ext cx="7851648" cy="68580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70559" y="6571488"/>
            <a:ext cx="3169920" cy="12192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751" y="1615017"/>
            <a:ext cx="3172803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" y="501656"/>
            <a:ext cx="3169920" cy="963168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01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0148" y="1615017"/>
            <a:ext cx="3172803" cy="464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6865" y="501656"/>
            <a:ext cx="3169920" cy="963168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70559" y="6571488"/>
            <a:ext cx="316992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785442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71794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70559" y="6571488"/>
            <a:ext cx="316992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58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48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1" y="5954759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1" y="5702473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1" y="5450188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0"/>
            <a:ext cx="8046720" cy="16093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804672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036" y="377496"/>
            <a:ext cx="1122323" cy="61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33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01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61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DE6C8-AB1D-4204-BC9C-3366B0BF0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889820"/>
            <a:ext cx="9989574" cy="3598606"/>
          </a:xfrm>
        </p:spPr>
        <p:txBody>
          <a:bodyPr anchor="t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7B9009-EE50-4EE5-B6EB-CD6EC83D3F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8" y="4488426"/>
            <a:ext cx="6991776" cy="1302774"/>
          </a:xfrm>
        </p:spPr>
        <p:txBody>
          <a:bodyPr anchor="b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C8667E-058A-436F-B8EA-5B3A99D43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1EADE-8E88-4C7C-8AC5-FB148DE4940E}" type="datetime1">
              <a:rPr lang="en-US" smtClean="0"/>
              <a:t>7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680305-1AD7-482D-BFFD-6CDB83AB3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5762A1-52E9-402D-B65E-DF193E44C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7761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E4BD8-507D-48E4-A624-F16A741C3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635" y="914400"/>
            <a:ext cx="10691265" cy="13075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A07E4-3A39-457C-A059-7DFB6039D9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4088" y="2221992"/>
            <a:ext cx="5212080" cy="37398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141E17-47CE-4A78-B0FA-0E9786DA67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1344" y="2221992"/>
            <a:ext cx="5212080" cy="37398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F02C13-D3ED-4044-9716-F29D79A18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62B0B-D248-4FFB-8695-AD7FA4B1284A}" type="datetime1">
              <a:rPr lang="en-US" smtClean="0"/>
              <a:t>7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F334AD-FB29-4355-B5CF-85E61B4F3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5AA154-790C-4774-9C21-8C543E733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168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1" y="5955351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1" y="5703065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1" y="5450780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0560" y="3657619"/>
            <a:ext cx="8046720" cy="16093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3235667"/>
            <a:ext cx="804672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91" y="659401"/>
            <a:ext cx="10883616" cy="199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95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1" y="5954759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1" y="5702473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1" y="5450188"/>
            <a:ext cx="573024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0560" y="3657600"/>
            <a:ext cx="8067040" cy="16093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0560" y="3230880"/>
            <a:ext cx="804672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91" y="659401"/>
            <a:ext cx="10883616" cy="199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403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13248" y="0"/>
            <a:ext cx="677875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0" y="5950987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0" y="5700405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0" y="5449824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2"/>
            <a:ext cx="4145280" cy="177279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414528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00" y="658369"/>
            <a:ext cx="4145280" cy="76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5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13248" y="0"/>
            <a:ext cx="677875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0" y="5949696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0" y="5699760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0" y="5449824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2"/>
            <a:ext cx="4145280" cy="177279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414528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00" y="658369"/>
            <a:ext cx="4145280" cy="76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34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13248" y="0"/>
            <a:ext cx="677875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0" y="5949696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0" y="5699760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0" y="5449824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2"/>
            <a:ext cx="4145280" cy="177279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414528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00" y="658369"/>
            <a:ext cx="4145280" cy="76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18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13248" y="0"/>
            <a:ext cx="677875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70560" y="5949696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670560" y="5699760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670560" y="5449824"/>
            <a:ext cx="4145280" cy="2438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" y="2743202"/>
            <a:ext cx="4145280" cy="177279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0560" y="2353056"/>
            <a:ext cx="4145280" cy="2438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00" y="658369"/>
            <a:ext cx="4145280" cy="76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85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5A6F61A6-7957-8A4B-37DE-4C85B26FA8C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25241" y="6516147"/>
            <a:ext cx="865632" cy="157720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425500" y="6571488"/>
            <a:ext cx="21600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559" y="6571488"/>
            <a:ext cx="7315200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831" y="6571488"/>
            <a:ext cx="266631" cy="1219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87E7843D-FF13-4365-9478-9625B70A270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099" y="1615017"/>
            <a:ext cx="10843687" cy="46464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6" y="501655"/>
            <a:ext cx="10843687" cy="9588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6608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219108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lang="en-US" sz="32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5067" indent="-195067" algn="l" defTabSz="24479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000000"/>
        </a:buClr>
        <a:buSzPct val="75000"/>
        <a:buChar char="•"/>
        <a:defRPr lang="en-US" sz="1867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393590" indent="-196795" algn="l" defTabSz="24479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000000"/>
        </a:buClr>
        <a:buSzPct val="75000"/>
        <a:buChar char="•"/>
        <a:defRPr lang="en-US" sz="1867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590385" indent="-196795" algn="l" defTabSz="24479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000000"/>
        </a:buClr>
        <a:buSzPct val="75000"/>
        <a:buChar char="•"/>
        <a:defRPr lang="en-US" sz="1867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787180" indent="-196795" algn="l" defTabSz="24479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000000"/>
        </a:buClr>
        <a:buSzPct val="75000"/>
        <a:buChar char="•"/>
        <a:defRPr lang="en-US" sz="1867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983975" indent="-196795" algn="l" defTabSz="24479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000000"/>
        </a:buClr>
        <a:buSzPct val="75000"/>
        <a:buChar char="•"/>
        <a:defRPr lang="en-IN" sz="1867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180770" indent="-196795" algn="l" defTabSz="121910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75000"/>
        <a:buChar char="•"/>
        <a:defRPr lang="en-US" sz="1867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377566" indent="-196795" algn="l" defTabSz="121910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75000"/>
        <a:buChar char="•"/>
        <a:defRPr sz="1867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574361" indent="-196795" algn="l" defTabSz="121910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75000"/>
        <a:buChar char="•"/>
        <a:defRPr sz="1867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771156" indent="-196795" algn="l" defTabSz="121910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SzPct val="75000"/>
        <a:buChar char="•"/>
        <a:defRPr sz="1867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6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A4A3A4"/>
          </p15:clr>
        </p15:guide>
        <p15:guide id="4" orient="horz" pos="228">
          <p15:clr>
            <a:srgbClr val="A4A3A4"/>
          </p15:clr>
        </p15:guide>
        <p15:guide id="7" orient="horz" pos="2964">
          <p15:clr>
            <a:srgbClr val="A4A3A4"/>
          </p15:clr>
        </p15:guide>
        <p15:guide id="15" orient="horz" pos="1620">
          <p15:clr>
            <a:srgbClr val="F26B43"/>
          </p15:clr>
        </p15:guide>
        <p15:guide id="16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FE7542-BC6A-A56E-CA7D-83712EEE5FC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15482" y="0"/>
            <a:ext cx="667651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C41DF-27A5-897E-A73C-EF501D4171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60" y="5786846"/>
            <a:ext cx="4145280" cy="406690"/>
          </a:xfrm>
        </p:spPr>
        <p:txBody>
          <a:bodyPr/>
          <a:lstStyle/>
          <a:p>
            <a:r>
              <a:rPr lang="en-US" dirty="0"/>
              <a:t>22</a:t>
            </a:r>
            <a:r>
              <a:rPr lang="en-US" baseline="30000" dirty="0"/>
              <a:t>nd</a:t>
            </a:r>
            <a:r>
              <a:rPr lang="en-US" dirty="0"/>
              <a:t> July 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E7F956-BEFE-B9CF-D466-0949EB1AAC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0560" y="5449824"/>
            <a:ext cx="4145280" cy="406690"/>
          </a:xfrm>
        </p:spPr>
        <p:txBody>
          <a:bodyPr>
            <a:normAutofit/>
          </a:bodyPr>
          <a:lstStyle/>
          <a:p>
            <a:r>
              <a:rPr lang="en-IN" dirty="0" err="1"/>
              <a:t>NextPuls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8A677-260A-0784-A416-E986B5DA63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Aura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E61818-33CA-6F9F-8D7A-321F58E31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I Hackathon</a:t>
            </a:r>
          </a:p>
        </p:txBody>
      </p:sp>
      <p:pic>
        <p:nvPicPr>
          <p:cNvPr id="4" name="Picture 3" descr="Binary Tunnel">
            <a:extLst>
              <a:ext uri="{FF2B5EF4-FFF2-40B4-BE49-F238E27FC236}">
                <a16:creationId xmlns:a16="http://schemas.microsoft.com/office/drawing/2014/main" id="{AB8C4D10-209D-4910-9225-C4BFAD18D0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754"/>
          <a:stretch>
            <a:fillRect/>
          </a:stretch>
        </p:blipFill>
        <p:spPr>
          <a:xfrm>
            <a:off x="5515483" y="-29522"/>
            <a:ext cx="6676517" cy="688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45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FD5DFF-AD6E-BA24-B8F1-9A178F52A332}"/>
              </a:ext>
            </a:extLst>
          </p:cNvPr>
          <p:cNvSpPr>
            <a:spLocks noGrp="1"/>
          </p:cNvSpPr>
          <p:nvPr>
            <p:ph type="body" sz="quarter" idx="24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350148" y="1615017"/>
            <a:ext cx="3172803" cy="4646400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spcBef>
                <a:spcPts val="2500"/>
              </a:spcBef>
              <a:buNone/>
            </a:pPr>
            <a:r>
              <a:rPr lang="en-US" sz="1400" b="1"/>
              <a:t>Hackathon track / Category</a:t>
            </a:r>
            <a:br>
              <a:rPr lang="en-US" sz="1400" b="1"/>
            </a:br>
            <a:r>
              <a:rPr lang="en-US" sz="1400" b="1"/>
              <a:t>Operational Efficiency &amp; Workflow Automation</a:t>
            </a:r>
          </a:p>
          <a:p>
            <a:pPr marL="0" indent="0">
              <a:lnSpc>
                <a:spcPct val="90000"/>
              </a:lnSpc>
              <a:spcBef>
                <a:spcPts val="2500"/>
              </a:spcBef>
              <a:buNone/>
            </a:pPr>
            <a:br>
              <a:rPr lang="en-US" sz="1400" b="1"/>
            </a:br>
            <a:r>
              <a:rPr lang="en-US" sz="1400" b="1"/>
              <a:t>Here is Why:</a:t>
            </a:r>
            <a:br>
              <a:rPr lang="en-US" sz="1400" b="1"/>
            </a:br>
            <a:r>
              <a:rPr lang="en-US" sz="1400" b="1"/>
              <a:t>We are addressing fragmented management of critical resources like beds, ambulances, and 	equipment.</a:t>
            </a:r>
            <a:br>
              <a:rPr lang="en-US" sz="1400" b="1"/>
            </a:br>
            <a:r>
              <a:rPr lang="en-US" sz="1400" b="1"/>
              <a:t>The focus is on reducing delays, eliminating overhead and improving coordination.</a:t>
            </a:r>
          </a:p>
          <a:p>
            <a:pPr marL="0" indent="0">
              <a:lnSpc>
                <a:spcPct val="90000"/>
              </a:lnSpc>
              <a:spcBef>
                <a:spcPts val="2500"/>
              </a:spcBef>
              <a:buNone/>
            </a:pPr>
            <a:br>
              <a:rPr lang="en-US" sz="1400" b="1"/>
            </a:br>
            <a:r>
              <a:rPr lang="en-US" sz="1400" b="1"/>
              <a:t>The use of AI to automate and optimize workflows (e.g. real-time resource allocation, predictive analytics for demand, intelligent routing).</a:t>
            </a:r>
            <a:br>
              <a:rPr lang="en-US" sz="1400" b="1"/>
            </a:br>
            <a:br>
              <a:rPr lang="en-US" sz="1400" b="1"/>
            </a:br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1355A3-63DD-B17F-4EF0-C64341DC2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6865" y="501656"/>
            <a:ext cx="3169920" cy="96316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Introduction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3222DC4-AC97-B09A-1327-2DB0BF373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76" b="-1"/>
          <a:stretch>
            <a:fillRect/>
          </a:stretch>
        </p:blipFill>
        <p:spPr bwMode="auto">
          <a:xfrm>
            <a:off x="20" y="10"/>
            <a:ext cx="7854407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9174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082229-B3A3-4F38-9C35-13F3E997FE2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54428" y="1615017"/>
            <a:ext cx="3668524" cy="4646400"/>
          </a:xfrm>
        </p:spPr>
        <p:txBody>
          <a:bodyPr>
            <a:normAutofit/>
          </a:bodyPr>
          <a:lstStyle/>
          <a:p>
            <a:r>
              <a:rPr lang="en-US" dirty="0"/>
              <a:t>Fragmented management of beds, ambulance services, and equipment—causing delays, wasted resources, and compromised patient care coordination, with a focus on how AI could help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096426-8DE8-C2D6-DEF7-1B081CABD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6865" y="501656"/>
            <a:ext cx="3169920" cy="963168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b="1"/>
              <a:t>Problem Overview</a:t>
            </a:r>
            <a:br>
              <a:rPr lang="en-US" b="1"/>
            </a:br>
            <a:endParaRPr lang="en-US"/>
          </a:p>
        </p:txBody>
      </p:sp>
      <p:pic>
        <p:nvPicPr>
          <p:cNvPr id="5" name="Picture 4" descr="A graphic of a problem statement&#10;&#10;AI-generated content may be incorrect.">
            <a:extLst>
              <a:ext uri="{FF2B5EF4-FFF2-40B4-BE49-F238E27FC236}">
                <a16:creationId xmlns:a16="http://schemas.microsoft.com/office/drawing/2014/main" id="{280CA37B-5E12-C127-1C87-47961DD1200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1370" r="-2" b="16874"/>
          <a:stretch>
            <a:fillRect/>
          </a:stretch>
        </p:blipFill>
        <p:spPr>
          <a:xfrm>
            <a:off x="0" y="611045"/>
            <a:ext cx="7854427" cy="56359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5107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F0C70-852F-CA98-2F09-27E2421213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350148" y="1615017"/>
            <a:ext cx="3172803" cy="4646400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spcBef>
                <a:spcPts val="2500"/>
              </a:spcBef>
              <a:buNone/>
            </a:pPr>
            <a:endParaRPr lang="en-US" sz="1400"/>
          </a:p>
          <a:p>
            <a:pPr>
              <a:lnSpc>
                <a:spcPct val="90000"/>
              </a:lnSpc>
            </a:pPr>
            <a:r>
              <a:rPr lang="en-US" sz="1400" u="sng"/>
              <a:t>Reduced Mortality and Morbidity</a:t>
            </a:r>
            <a:r>
              <a:rPr lang="en-US" sz="1400"/>
              <a:t>: Faster critical care admissions and ambulance response during emergencies.</a:t>
            </a:r>
          </a:p>
          <a:p>
            <a:pPr>
              <a:lnSpc>
                <a:spcPct val="90000"/>
              </a:lnSpc>
            </a:pPr>
            <a:r>
              <a:rPr lang="en-US" sz="1400" u="sng"/>
              <a:t>Increased Equipment Utilization</a:t>
            </a:r>
            <a:r>
              <a:rPr lang="en-US" sz="1400"/>
              <a:t>: Minimized idle time of high-value assets like scanners, improving ROI and patient throughput.</a:t>
            </a:r>
          </a:p>
          <a:p>
            <a:pPr>
              <a:lnSpc>
                <a:spcPct val="90000"/>
              </a:lnSpc>
            </a:pPr>
            <a:r>
              <a:rPr lang="en-US" sz="1400" u="sng"/>
              <a:t>Operational Efficiency</a:t>
            </a:r>
            <a:r>
              <a:rPr lang="en-US" sz="1400"/>
              <a:t>: Automation of administrative tasks and proactive coordination reduces staff burden and delays.</a:t>
            </a:r>
          </a:p>
          <a:p>
            <a:pPr>
              <a:lnSpc>
                <a:spcPct val="90000"/>
              </a:lnSpc>
            </a:pPr>
            <a:r>
              <a:rPr lang="en-US" sz="1400" u="sng"/>
              <a:t>Enhanced Patient Experience</a:t>
            </a:r>
            <a:r>
              <a:rPr lang="en-US" sz="1400"/>
              <a:t>: Transparent, real-time communication reduces uncertainty and builds trust.</a:t>
            </a:r>
          </a:p>
          <a:p>
            <a:pPr>
              <a:lnSpc>
                <a:spcPct val="90000"/>
              </a:lnSpc>
            </a:pPr>
            <a:r>
              <a:rPr lang="en-US" sz="1400" u="sng"/>
              <a:t>Data-Driven Decisions:</a:t>
            </a:r>
            <a:r>
              <a:rPr lang="en-US" sz="1400"/>
              <a:t> AI insights enable smarter, faster decisions in high-pressure environments.</a:t>
            </a:r>
          </a:p>
          <a:p>
            <a:pPr>
              <a:lnSpc>
                <a:spcPct val="90000"/>
              </a:lnSpc>
            </a:pPr>
            <a:endParaRPr lang="en-US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64C7B4-A838-BAA3-01F7-F0782B840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6865" y="501656"/>
            <a:ext cx="3169920" cy="963168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200" b="1"/>
              <a:t>Potential Impact on Users and Business</a:t>
            </a:r>
            <a:br>
              <a:rPr lang="en-US" sz="2200" b="1"/>
            </a:br>
            <a:endParaRPr lang="en-US" sz="2200"/>
          </a:p>
        </p:txBody>
      </p:sp>
      <p:pic>
        <p:nvPicPr>
          <p:cNvPr id="11" name="Picture 10" descr="A diagram of a health care system&#10;&#10;AI-generated content may be incorrect.">
            <a:extLst>
              <a:ext uri="{FF2B5EF4-FFF2-40B4-BE49-F238E27FC236}">
                <a16:creationId xmlns:a16="http://schemas.microsoft.com/office/drawing/2014/main" id="{5243E9CB-C55D-35C8-0A19-F0D1B529F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213" y="0"/>
            <a:ext cx="6858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94406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DC220-3CCA-548D-C68F-6B3C93D3C607}"/>
              </a:ext>
            </a:extLst>
          </p:cNvPr>
          <p:cNvSpPr>
            <a:spLocks noGrp="1"/>
          </p:cNvSpPr>
          <p:nvPr>
            <p:ph type="body" sz="quarter" idx="24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8350148" y="1363133"/>
            <a:ext cx="3172803" cy="4898284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en-US" sz="1400" b="1" dirty="0"/>
              <a:t>How the AI Solution Works</a:t>
            </a:r>
            <a:br>
              <a:rPr lang="en-US" sz="1400" b="1" dirty="0"/>
            </a:br>
            <a:br>
              <a:rPr lang="en-US" sz="1400" b="1" dirty="0"/>
            </a:br>
            <a:r>
              <a:rPr lang="en-US" sz="1400" b="1" dirty="0"/>
              <a:t>I</a:t>
            </a:r>
            <a:r>
              <a:rPr lang="en-US" sz="1400" dirty="0"/>
              <a:t>ntelligent agents, and Large Language Models (LLMs) to revolutionize healthcare resource management. It analyzes real-time data to automate triage, instantly match patient needs with available ambulances and hospital beds, and optimize routing. Predictive analytics anticipate demand, ensuring proactive resource deployment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en-US" sz="1400" b="1" dirty="0"/>
              <a:t>AI Technology Involved or developed</a:t>
            </a:r>
            <a:br>
              <a:rPr lang="en-US" sz="1400" b="1" dirty="0"/>
            </a:br>
            <a:r>
              <a:rPr lang="en-US" sz="1400" dirty="0"/>
              <a:t>Intelligent Agents for resource discovery, self triage, bed allocation and handover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en-US" sz="1400" b="1" dirty="0"/>
              <a:t>Target Audience and Impact</a:t>
            </a:r>
          </a:p>
          <a:p>
            <a:pPr marL="0" lvl="1" indent="0">
              <a:buNone/>
            </a:pPr>
            <a:r>
              <a:rPr lang="en-US" sz="1400" b="1" dirty="0"/>
              <a:t>Users: </a:t>
            </a:r>
            <a:r>
              <a:rPr lang="en-US" sz="1400" dirty="0"/>
              <a:t>Emergency services, hospitals, and healthcare administrators.</a:t>
            </a:r>
          </a:p>
          <a:p>
            <a:pPr marL="0" lvl="1" indent="0">
              <a:buNone/>
            </a:pPr>
            <a:r>
              <a:rPr lang="en-US" sz="1400" b="1" dirty="0"/>
              <a:t>Impact: </a:t>
            </a:r>
            <a:r>
              <a:rPr lang="en-US" sz="1400" dirty="0"/>
              <a:t>Patients receive faster, more appropriate care. Healthcare providers gain optimized resource allocation, reduced delays, and improved coordination, leading to better outcomes for all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073BB-4DF6-2F92-FEF2-87ED1D8F9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6865" y="501656"/>
            <a:ext cx="3169920" cy="590544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000" dirty="0"/>
              <a:t>Details</a:t>
            </a:r>
          </a:p>
        </p:txBody>
      </p:sp>
      <p:pic>
        <p:nvPicPr>
          <p:cNvPr id="6" name="Picture 5" descr="A diagram of a medical operation&#10;&#10;AI-generated content may be incorrect.">
            <a:extLst>
              <a:ext uri="{FF2B5EF4-FFF2-40B4-BE49-F238E27FC236}">
                <a16:creationId xmlns:a16="http://schemas.microsoft.com/office/drawing/2014/main" id="{0452F319-665E-B7B2-543B-CC3C8C3A8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213" y="0"/>
            <a:ext cx="6858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546049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Hands held up high during a conference">
            <a:extLst>
              <a:ext uri="{FF2B5EF4-FFF2-40B4-BE49-F238E27FC236}">
                <a16:creationId xmlns:a16="http://schemas.microsoft.com/office/drawing/2014/main" id="{8DFE50C1-CCE0-440A-9D47-62E9F8819BAA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3"/>
          <a:srcRect l="11846" r="11846"/>
          <a:stretch/>
        </p:blipFill>
        <p:spPr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7CEC2A-5E43-3701-BFD9-5889067B891C}"/>
              </a:ext>
            </a:extLst>
          </p:cNvPr>
          <p:cNvSpPr>
            <a:spLocks noGrp="1"/>
          </p:cNvSpPr>
          <p:nvPr>
            <p:ph type="body" sz="quarter" idx="20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en-US" sz="1800" dirty="0"/>
              <a:t>Ready for questions after the dem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A19939-E08F-F16B-37FD-85F4262B6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en-US" dirty="0"/>
              <a:t>Additional FAQ, Demo and Q&amp;A</a:t>
            </a:r>
          </a:p>
        </p:txBody>
      </p:sp>
    </p:spTree>
    <p:extLst>
      <p:ext uri="{BB962C8B-B14F-4D97-AF65-F5344CB8AC3E}">
        <p14:creationId xmlns:p14="http://schemas.microsoft.com/office/powerpoint/2010/main" val="19796720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36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0" tIns="0" rIns="0" bIns="0" rtlCol="0" anchor="ctr"/>
      <a:lstStyle>
        <a:defPPr algn="ctr">
          <a:spcAft>
            <a:spcPts val="6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0" tIns="0" rIns="0" bIns="0" rtlCol="0">
        <a:no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e40374fb-a6cc-4854-989f-c1d94a7967ee" ContentTypeId="0x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8493A59D6D7D44A6EED032B06096C0" ma:contentTypeVersion="21" ma:contentTypeDescription="Create a new document." ma:contentTypeScope="" ma:versionID="7dfd8641353d4cd354d2b152eeaab282">
  <xsd:schema xmlns:xsd="http://www.w3.org/2001/XMLSchema" xmlns:xs="http://www.w3.org/2001/XMLSchema" xmlns:p="http://schemas.microsoft.com/office/2006/metadata/properties" xmlns:ns2="b411fff3-183a-4926-b6e2-68afd110ae3a" xmlns:ns3="20d95c84-415a-4a4f-8085-4a8cdda1bc5d" targetNamespace="http://schemas.microsoft.com/office/2006/metadata/properties" ma:root="true" ma:fieldsID="d0260aca957bb54750ad1c9a9a8ff3c0" ns2:_="" ns3:_="">
    <xsd:import namespace="b411fff3-183a-4926-b6e2-68afd110ae3a"/>
    <xsd:import namespace="20d95c84-415a-4a4f-8085-4a8cdda1bc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Bucket_x002f_Category" minOccurs="0"/>
                <xsd:element ref="ns2:MediaServiceSearchPropertie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1fff3-183a-4926-b6e2-68afd110ae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40374fb-a6cc-4854-989f-c1d94a7967e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Bucket_x002f_Category" ma:index="22" nillable="true" ma:displayName="Bucket/Category" ma:format="Dropdown" ma:internalName="Bucket_x002f_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esign controls"/>
                    <xsd:enumeration value="Risk Mgt"/>
                    <xsd:enumeration value="Regulatory"/>
                    <xsd:enumeration value="EU MDR"/>
                    <xsd:enumeration value="Clinical"/>
                    <xsd:enumeration value="62304"/>
                    <xsd:enumeration value="(Product) Security"/>
                    <xsd:enumeration value="Usability"/>
                    <xsd:enumeration value="Customer Service"/>
                    <xsd:enumeration value="Servicing"/>
                    <xsd:enumeration value="UX Design"/>
                    <xsd:enumeration value="Preparing Markets"/>
                    <xsd:enumeration value="Commercialization / Launch"/>
                    <xsd:enumeration value="Claims Mgt"/>
                    <xsd:enumeration value="Configuration Mgt"/>
                    <xsd:enumeration value="Release Mgt"/>
                    <xsd:enumeration value="Operations"/>
                    <xsd:enumeration value="AI/ML"/>
                  </xsd:restriction>
                </xsd:simpleType>
              </xsd:element>
            </xsd:sequence>
          </xsd:extension>
        </xsd:complexContent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d95c84-415a-4a4f-8085-4a8cdda1bc5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25d9dc4d-a905-4a1c-b293-e41f700ee0ee}" ma:internalName="TaxCatchAll" ma:showField="CatchAllData" ma:web="20d95c84-415a-4a4f-8085-4a8cdda1bc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0d95c84-415a-4a4f-8085-4a8cdda1bc5d" xsi:nil="true"/>
    <Bucket_x002f_Category xmlns="b411fff3-183a-4926-b6e2-68afd110ae3a" xsi:nil="true"/>
    <lcf76f155ced4ddcb4097134ff3c332f xmlns="b411fff3-183a-4926-b6e2-68afd110ae3a">
      <Terms xmlns="http://schemas.microsoft.com/office/infopath/2007/PartnerControls"/>
    </lcf76f155ced4ddcb4097134ff3c332f>
    <_Flow_SignoffStatus xmlns="b411fff3-183a-4926-b6e2-68afd110ae3a" xsi:nil="true"/>
  </documentManagement>
</p:properties>
</file>

<file path=customXml/itemProps1.xml><?xml version="1.0" encoding="utf-8"?>
<ds:datastoreItem xmlns:ds="http://schemas.openxmlformats.org/officeDocument/2006/customXml" ds:itemID="{12368706-0C66-4536-B37E-BCDE4DE925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9D60064-4E91-4488-B662-34215CF757C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3BEA03B4-C768-4391-98F4-315793756C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11fff3-183a-4926-b6e2-68afd110ae3a"/>
    <ds:schemaRef ds:uri="20d95c84-415a-4a4f-8085-4a8cdda1bc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ACBA644-A49D-451D-AA86-1734238CE196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20d95c84-415a-4a4f-8085-4a8cdda1bc5d"/>
    <ds:schemaRef ds:uri="b411fff3-183a-4926-b6e2-68afd110ae3a"/>
    <ds:schemaRef ds:uri="http://purl.org/dc/dcmitype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Metadata/LabelInfo.xml><?xml version="1.0" encoding="utf-8"?>
<clbl:labelList xmlns:clbl="http://schemas.microsoft.com/office/2020/mipLabelMetadata">
  <clbl:label id="{1a407a2d-7675-4d17-8692-b3ac285306e4}" enabled="0" method="" siteId="{1a407a2d-7675-4d17-8692-b3ac285306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5</Words>
  <Application>Microsoft Office PowerPoint</Application>
  <PresentationFormat>Widescreen</PresentationFormat>
  <Paragraphs>29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ptos</vt:lpstr>
      <vt:lpstr>Arial</vt:lpstr>
      <vt:lpstr>Calibri</vt:lpstr>
      <vt:lpstr>Calibri Light</vt:lpstr>
      <vt:lpstr>Slide Master Only: November 2024</vt:lpstr>
      <vt:lpstr>think-cell Slide</vt:lpstr>
      <vt:lpstr>PowerPoint Presentation</vt:lpstr>
      <vt:lpstr>Introduction</vt:lpstr>
      <vt:lpstr>Problem Overview </vt:lpstr>
      <vt:lpstr>Potential Impact on Users and Business </vt:lpstr>
      <vt:lpstr>Details</vt:lpstr>
      <vt:lpstr>Additional FAQ, Demo and 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ekhar, Shashank</dc:creator>
  <cp:lastModifiedBy>Mishra, Saurabh</cp:lastModifiedBy>
  <cp:revision>8</cp:revision>
  <dcterms:created xsi:type="dcterms:W3CDTF">2025-07-16T15:46:48Z</dcterms:created>
  <dcterms:modified xsi:type="dcterms:W3CDTF">2025-07-22T05:4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8493A59D6D7D44A6EED032B06096C0</vt:lpwstr>
  </property>
</Properties>
</file>